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1" r:id="rId1"/>
    <p:sldMasterId id="2147483691" r:id="rId2"/>
  </p:sldMasterIdLst>
  <p:notesMasterIdLst>
    <p:notesMasterId r:id="rId21"/>
  </p:notesMasterIdLst>
  <p:sldIdLst>
    <p:sldId id="311" r:id="rId3"/>
    <p:sldId id="280" r:id="rId4"/>
    <p:sldId id="313" r:id="rId5"/>
    <p:sldId id="281" r:id="rId6"/>
    <p:sldId id="314" r:id="rId7"/>
    <p:sldId id="277" r:id="rId8"/>
    <p:sldId id="278" r:id="rId9"/>
    <p:sldId id="279" r:id="rId10"/>
    <p:sldId id="282" r:id="rId11"/>
    <p:sldId id="321" r:id="rId12"/>
    <p:sldId id="322" r:id="rId13"/>
    <p:sldId id="324" r:id="rId14"/>
    <p:sldId id="316" r:id="rId15"/>
    <p:sldId id="319" r:id="rId16"/>
    <p:sldId id="320" r:id="rId17"/>
    <p:sldId id="325" r:id="rId18"/>
    <p:sldId id="326" r:id="rId19"/>
    <p:sldId id="327" r:id="rId20"/>
  </p:sldIdLst>
  <p:sldSz cx="12192000" cy="6858000"/>
  <p:notesSz cx="6797675" cy="9928225"/>
  <p:defaultTextStyle>
    <a:defPPr lvl="0">
      <a:defRPr lang="ru-RU"/>
    </a:defPPr>
    <a:lvl1pPr marL="0" lvl="0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19" lvl="1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41" lvl="2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362" lvl="3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482" lvl="4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606" lvl="5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722" lvl="6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840" lvl="7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959" lvl="8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03A"/>
    <a:srgbClr val="5C1167"/>
    <a:srgbClr val="342653"/>
    <a:srgbClr val="D3525D"/>
    <a:srgbClr val="584E8C"/>
    <a:srgbClr val="5E5288"/>
    <a:srgbClr val="D04E77"/>
    <a:srgbClr val="D3595D"/>
    <a:srgbClr val="DC595D"/>
    <a:srgbClr val="DC5D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55" autoAdjust="0"/>
    <p:restoredTop sz="94369" autoAdjust="0"/>
  </p:normalViewPr>
  <p:slideViewPr>
    <p:cSldViewPr snapToGrid="0">
      <p:cViewPr>
        <p:scale>
          <a:sx n="70" d="100"/>
          <a:sy n="70" d="100"/>
        </p:scale>
        <p:origin x="-1026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49C9C1-5CCD-40D6-83FC-BBE0327AA7F6}" type="datetimeFigureOut">
              <a:rPr lang="ru-RU" smtClean="0"/>
              <a:t>18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B83E4-8D8C-4B33-A64B-A27992F841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5747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9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8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06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2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4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59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105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90263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="" xmlns:a16="http://schemas.microsoft.com/office/drawing/2014/main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="" xmlns:a16="http://schemas.microsoft.com/office/drawing/2014/main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12338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7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="" xmlns:a16="http://schemas.microsoft.com/office/drawing/2014/main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 lIns="91426" tIns="45718" rIns="91426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325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="" xmlns:a16="http://schemas.microsoft.com/office/drawing/2014/main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20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90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46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="" xmlns:a16="http://schemas.microsoft.com/office/drawing/2014/main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20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90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040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46976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="" xmlns:a16="http://schemas.microsoft.com/office/drawing/2014/main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2"/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="" xmlns:a16="http://schemas.microsoft.com/office/drawing/2014/main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03152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8.09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2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="" xmlns:a16="http://schemas.microsoft.com/office/drawing/2014/main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1648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8.09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="" xmlns:a16="http://schemas.microsoft.com/office/drawing/2014/main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76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8.09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="" xmlns:a16="http://schemas.microsoft.com/office/drawing/2014/main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00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4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2.emf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203598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3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73" y="299708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26" tIns="45718" rIns="91426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 lIns="91426" tIns="45718" rIns="91426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292" y="136533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ctr" defTabSz="914241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62" indent="-228562" algn="l" defTabSz="91424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86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0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20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9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61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6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6721543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5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32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67" y="299702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4" tIns="45718" rIns="91434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2"/>
            <a:fld id="{A87DB026-BC01-894B-B5E1-E49353B2381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914332"/>
              <a:t>18.09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2"/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pPr defTabSz="914332"/>
            <a:fld id="{50F14DE7-7E30-4447-9A53-6BC505903302}" type="slidenum">
              <a:rPr lang="ru-RU" smtClean="0"/>
              <a:pPr defTabSz="914332"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286" y="136528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1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</p:sldLayoutIdLst>
  <p:hf hdr="0" ftr="0" dt="0"/>
  <p:txStyles>
    <p:titleStyle>
      <a:lvl1pPr algn="ctr" defTabSz="914332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9.xml"/><Relationship Id="rId7" Type="http://schemas.openxmlformats.org/officeDocument/2006/relationships/image" Target="../media/image1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msp.economy.gov.ru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7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3.xml"/><Relationship Id="rId7" Type="http://schemas.openxmlformats.org/officeDocument/2006/relationships/image" Target="../media/image1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hyperlink" Target="https://msp.economy.gov.ru/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exportmo.ru/" TargetMode="External"/><Relationship Id="rId3" Type="http://schemas.openxmlformats.org/officeDocument/2006/relationships/tags" Target="../tags/tag27.xml"/><Relationship Id="rId7" Type="http://schemas.openxmlformats.org/officeDocument/2006/relationships/image" Target="../media/image1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9.xml"/><Relationship Id="rId7" Type="http://schemas.openxmlformats.org/officeDocument/2006/relationships/hyperlink" Target="http://economy.gov.ru/minec/press/news/2019022501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hyperlink" Target="mailto:rlk@corpmsp.ru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hyperlink" Target="http://www.mosreg-garant.ru/ru/entrepreneurs/partner/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mofmicro.ru/contacts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hyperlink" Target="https://frpmo.ru/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.xml"/><Relationship Id="rId7" Type="http://schemas.openxmlformats.org/officeDocument/2006/relationships/hyperlink" Target="mailto:Yurinayum@mosreg.ru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="" xmlns:a16="http://schemas.microsoft.com/office/drawing/2014/main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4348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="" xmlns:a16="http://schemas.microsoft.com/office/drawing/2014/main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334433" y="2690636"/>
            <a:ext cx="9787467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6933" algn="l">
              <a:spcBef>
                <a:spcPts val="0"/>
              </a:spcBef>
            </a:pPr>
            <a:r>
              <a:rPr sz="2700" spc="0" dirty="0"/>
              <a:t>Меры поддержки субъектов </a:t>
            </a:r>
            <a:r>
              <a:rPr sz="2700" spc="0" dirty="0" err="1"/>
              <a:t>мсп</a:t>
            </a:r>
            <a:r>
              <a:rPr sz="2700" spc="0" dirty="0"/>
              <a:t> </a:t>
            </a:r>
          </a:p>
          <a:p>
            <a:pPr marL="16933" algn="l">
              <a:spcBef>
                <a:spcPts val="0"/>
              </a:spcBef>
            </a:pPr>
            <a:r>
              <a:rPr lang="ru-RU" sz="2700" spc="0" dirty="0"/>
              <a:t>В московской области </a:t>
            </a:r>
            <a:r>
              <a:rPr sz="2700" spc="0" dirty="0"/>
              <a:t>2020 год</a:t>
            </a:r>
            <a:endParaRPr sz="13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334433" y="5237140"/>
            <a:ext cx="3003083" cy="134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29689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8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588260" y="1646103"/>
            <a:ext cx="2758789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199072" y="261103"/>
            <a:ext cx="7522233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нсультации экспертов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005919"/>
              </p:ext>
            </p:extLst>
          </p:nvPr>
        </p:nvGraphicFramePr>
        <p:xfrm>
          <a:off x="485169" y="1603370"/>
          <a:ext cx="11490541" cy="4309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5932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63460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8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8976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Услуги оказываются </a:t>
                      </a: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экспертными организациями </a:t>
                      </a: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о следующим вопросам:</a:t>
                      </a:r>
                      <a:endParaRPr lang="en-US" sz="18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indent="-34290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чало ведения собственного дела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lvl="0" indent="-342900" algn="just" defTabSz="91424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авовое сопровождение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lvl="0" indent="-342900" algn="just" defTabSz="91424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инансовое планирование</a:t>
                      </a:r>
                      <a:endParaRPr lang="en-US" sz="1800" b="1" kern="1200" dirty="0">
                        <a:solidFill>
                          <a:srgbClr val="EA3E7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342900" indent="-34290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изнес-планирование и маркетинг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indent="-34290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атентно-лицензионное сопровождение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>
                        <a:solidFill>
                          <a:srgbClr val="EA3E7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предпринимателя услуга бесплатна.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приниматель</a:t>
                      </a:r>
                      <a:r>
                        <a:rPr lang="ru-RU" sz="18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может получить </a:t>
                      </a: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2 услуг в год </a:t>
                      </a:r>
                      <a:r>
                        <a:rPr lang="ru-RU" sz="18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ратиться в любую</a:t>
                      </a:r>
                      <a:r>
                        <a:rPr lang="ru-RU" sz="18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аккредитованную организацию. </a:t>
                      </a: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писок организаций:</a:t>
                      </a:r>
                    </a:p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u="sng" kern="1200" dirty="0">
                          <a:solidFill>
                            <a:srgbClr val="0070C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invest.mosreg.ru/business_creation/obtain_license/cpp</a:t>
                      </a:r>
                      <a:endParaRPr lang="ru-RU" sz="1800" u="sng" kern="1200" dirty="0">
                        <a:solidFill>
                          <a:srgbClr val="0070C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762" y="2086438"/>
            <a:ext cx="413847" cy="41384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7048" y="5185394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985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ятиугольник 13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897147" y="1922148"/>
            <a:ext cx="2725948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155940" y="295609"/>
            <a:ext cx="7651629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Организация рекламных компаний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0155146"/>
              </p:ext>
            </p:extLst>
          </p:nvPr>
        </p:nvGraphicFramePr>
        <p:xfrm>
          <a:off x="793630" y="1889184"/>
          <a:ext cx="11156201" cy="4387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649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119703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740528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9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50368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 данной программе относятся следующие виды услуг: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изготовление полиграфической продукции, наружная реклама, изготовление и размещение радио- и видеороликов.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кламируется производимая продукция </a:t>
                      </a:r>
                      <a:r>
                        <a:rPr lang="ru-RU" sz="190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и оказываемые </a:t>
                      </a: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услуги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 услуга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не более </a:t>
                      </a:r>
                      <a:r>
                        <a:rPr lang="ru-RU" sz="19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тыс. руб.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услуги необходимо подать заявку в </a:t>
                      </a:r>
                      <a:r>
                        <a:rPr lang="ru-RU" sz="20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Центр «Мой бизнес» или </a:t>
                      </a:r>
                      <a:r>
                        <a:rPr lang="ru-RU" sz="20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рез Цифровую платформу «Мой бизнес» </a:t>
                      </a:r>
                      <a:r>
                        <a:rPr lang="en-US" sz="2000" dirty="0">
                          <a:hlinkClick r:id="rId8"/>
                        </a:rPr>
                        <a:t>https://msp.economy.gov.ru/</a:t>
                      </a:r>
                      <a:r>
                        <a:rPr lang="en-US" sz="2000" b="1" kern="1200" dirty="0">
                          <a:solidFill>
                            <a:srgbClr val="00B05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</a:t>
                      </a:r>
                      <a:r>
                        <a:rPr lang="en-US" sz="20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</a:t>
                      </a:r>
                      <a:endParaRPr lang="ru-RU" sz="20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4145" y="2658010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007" y="4219874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566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ятиугольник 1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872484" y="2392257"/>
            <a:ext cx="2828248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485302" y="373246"/>
            <a:ext cx="7384314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Участие в выставках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241268"/>
              </p:ext>
            </p:extLst>
          </p:nvPr>
        </p:nvGraphicFramePr>
        <p:xfrm>
          <a:off x="751714" y="2383231"/>
          <a:ext cx="10617027" cy="19384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41442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37558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9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00 тыс. руб. 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ля индивидуального стенда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,5 млн руб. </a:t>
                      </a: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ля коллективного стенда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653231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ратиться</a:t>
                      </a:r>
                      <a:r>
                        <a:rPr lang="ru-RU" sz="19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в Центр «Мой бизнес». </a:t>
                      </a:r>
                      <a:endParaRPr lang="ru-RU" sz="1900" u="sng" kern="1200" dirty="0">
                        <a:solidFill>
                          <a:srgbClr val="0070C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868" y="2767814"/>
            <a:ext cx="413847" cy="41384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0299" y="3823337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57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83332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474024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997827"/>
              </p:ext>
            </p:extLst>
          </p:nvPr>
        </p:nvGraphicFramePr>
        <p:xfrm>
          <a:off x="890521" y="1474024"/>
          <a:ext cx="10681855" cy="54296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62142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енные 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225818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редоставляются следующие виды услуг для развития производства: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разработка программ модернизации, бизнес-планов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роведение аудитов (технические, экологические, финансовые, управленческие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маркетинговые услуги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сертификация и патентование 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инженерные, проектно-конструкторские и расчетно-аналитические услуги, связанные с созданием или совершенствованием продукции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уги предоставляются на условиях </a:t>
                      </a:r>
                      <a:r>
                        <a:rPr lang="ru-RU" sz="16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финансирования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до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9</a:t>
                      </a:r>
                      <a:r>
                        <a:rPr lang="ru-RU" sz="1600" b="1" kern="1200" noProof="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5 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стоимости услуги оплачивается за счет бюджетных средств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2004032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услуги необходимо подать заявку в 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Центр «Мой бизнес» или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рез Цифровую платформу «Мой бизнес» </a:t>
                      </a:r>
                      <a:r>
                        <a:rPr lang="en-US" sz="1600" dirty="0">
                          <a:hlinkClick r:id="rId7"/>
                        </a:rPr>
                        <a:t>https://msp.economy.gov.ru/</a:t>
                      </a:r>
                      <a:r>
                        <a:rPr lang="en-US" sz="1600" b="1" kern="1200" dirty="0">
                          <a:solidFill>
                            <a:srgbClr val="00B05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809" y="4969734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1077214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Инжиниринговые услуги для промышленных предприятий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5149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751714" y="2017039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DEE0CADC-8F2A-4497-B59E-8BF8B0062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265ABFFE-57D7-4CFE-89BC-CF94CD178D54}"/>
              </a:ext>
            </a:extLst>
          </p:cNvPr>
          <p:cNvSpPr txBox="1">
            <a:spLocks/>
          </p:cNvSpPr>
          <p:nvPr/>
        </p:nvSpPr>
        <p:spPr>
          <a:xfrm>
            <a:off x="2300913" y="259857"/>
            <a:ext cx="6064157" cy="892550"/>
          </a:xfrm>
          <a:prstGeom prst="rect">
            <a:avLst/>
          </a:prstGeom>
          <a:noFill/>
        </p:spPr>
        <p:txBody>
          <a:bodyPr wrap="square" lIns="0" tIns="45719" rIns="0" bIns="45719" anchor="b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241"/>
            <a:r>
              <a:rPr lang="ru-RU" sz="3200" dirty="0">
                <a:solidFill>
                  <a:srgbClr val="7030A0"/>
                </a:solidFill>
                <a:ea typeface="+mn-ea"/>
              </a:rPr>
              <a:t>НАЛОГОВЫЕ ЛЬГОТЫ</a:t>
            </a:r>
            <a:br>
              <a:rPr lang="ru-RU" sz="3200" dirty="0">
                <a:solidFill>
                  <a:srgbClr val="7030A0"/>
                </a:solidFill>
                <a:ea typeface="+mn-ea"/>
              </a:rPr>
            </a:br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Статья 26.21 (Включение в реестр РИП)</a:t>
            </a:r>
          </a:p>
        </p:txBody>
      </p:sp>
      <p:graphicFrame>
        <p:nvGraphicFramePr>
          <p:cNvPr id="5" name="Таблица 2">
            <a:extLst>
              <a:ext uri="{FF2B5EF4-FFF2-40B4-BE49-F238E27FC236}">
                <a16:creationId xmlns="" xmlns:a16="http://schemas.microsoft.com/office/drawing/2014/main" id="{091FF23B-114F-49A7-AFCD-4A3D2A12FA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213902"/>
              </p:ext>
            </p:extLst>
          </p:nvPr>
        </p:nvGraphicFramePr>
        <p:xfrm>
          <a:off x="751714" y="2017039"/>
          <a:ext cx="11522832" cy="3416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8449">
                  <a:extLst>
                    <a:ext uri="{9D8B030D-6E8A-4147-A177-3AD203B41FA5}">
                      <a16:colId xmlns="" xmlns:a16="http://schemas.microsoft.com/office/drawing/2014/main" val="2535820944"/>
                    </a:ext>
                  </a:extLst>
                </a:gridCol>
                <a:gridCol w="8684383">
                  <a:extLst>
                    <a:ext uri="{9D8B030D-6E8A-4147-A177-3AD203B41FA5}">
                      <a16:colId xmlns="" xmlns:a16="http://schemas.microsoft.com/office/drawing/2014/main" val="1281759406"/>
                    </a:ext>
                  </a:extLst>
                </a:gridCol>
              </a:tblGrid>
              <a:tr h="469995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ятия обрабатывающей промышленности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811045"/>
                  </a:ext>
                </a:extLst>
              </a:tr>
              <a:tr h="2296591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словия и механизм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0" spc="-2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умма налоговых льгот не может превышать объем капитальных вложений по РИП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ьгота по налогу на прибыль только при 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% выручки от реализации РИП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лог на прибыль:</a:t>
                      </a:r>
                    </a:p>
                    <a:p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% до 01.01.2027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 млн руб. за 3 года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% до 01.01.2029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0 млн руб. за 5 лет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лог на имущество: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% на 4 года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 млн руб. за 3 года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% на 4 года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</a:t>
                      </a:r>
                      <a:r>
                        <a:rPr lang="ru-RU" sz="1700" b="0" spc="-20" dirty="0">
                          <a:solidFill>
                            <a:srgbClr val="5D326D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,1% с 5 по 7 годы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0 млн руб. за 5 лет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5566785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явку на включение в Реестр необходимо подать в Министерство инвестиций, промышленности и науки Московской области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4439334"/>
                  </a:ext>
                </a:extLst>
              </a:tr>
            </a:tbl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12" y="2440122"/>
            <a:ext cx="413847" cy="41384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612" y="4771326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012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ятиугольник 9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751713" y="1887644"/>
            <a:ext cx="2664347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DEE0CADC-8F2A-4497-B59E-8BF8B0062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5C65C4A4-DAE3-4DDF-B4D8-D38B0D4CD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919" y="275641"/>
            <a:ext cx="8093901" cy="1077214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ЕДОСТАВЛЕНИЕ Земельных участков БЕЗ ТОРГОВ</a:t>
            </a:r>
          </a:p>
        </p:txBody>
      </p:sp>
      <p:graphicFrame>
        <p:nvGraphicFramePr>
          <p:cNvPr id="5" name="Таблица 2">
            <a:extLst>
              <a:ext uri="{FF2B5EF4-FFF2-40B4-BE49-F238E27FC236}">
                <a16:creationId xmlns="" xmlns:a16="http://schemas.microsoft.com/office/drawing/2014/main" id="{36E7B85A-14C9-4C0E-B430-3A89127DD3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351422"/>
              </p:ext>
            </p:extLst>
          </p:nvPr>
        </p:nvGraphicFramePr>
        <p:xfrm>
          <a:off x="667119" y="1874742"/>
          <a:ext cx="11137236" cy="2864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2792">
                  <a:extLst>
                    <a:ext uri="{9D8B030D-6E8A-4147-A177-3AD203B41FA5}">
                      <a16:colId xmlns="" xmlns:a16="http://schemas.microsoft.com/office/drawing/2014/main" val="2535820944"/>
                    </a:ext>
                  </a:extLst>
                </a:gridCol>
                <a:gridCol w="8204444">
                  <a:extLst>
                    <a:ext uri="{9D8B030D-6E8A-4147-A177-3AD203B41FA5}">
                      <a16:colId xmlns="" xmlns:a16="http://schemas.microsoft.com/office/drawing/2014/main" val="1281759406"/>
                    </a:ext>
                  </a:extLst>
                </a:gridCol>
              </a:tblGrid>
              <a:tr h="697155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Юридические лица, зарегистрированные на территории МО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811045"/>
                  </a:ext>
                </a:extLst>
              </a:tr>
              <a:tr h="1259840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словия и механизм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ект соответствует приоритетам и целям стратегии социально-экономического развития МО и государственных программ МО.</a:t>
                      </a:r>
                    </a:p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ект увеличивает количество рабочих мест и ежегодных налоговых поступлений.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5566785"/>
                  </a:ext>
                </a:extLst>
              </a:tr>
              <a:tr h="887632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Ходатайство о предоставлении земельного участка без торгов необходимо подать на имя Губернатора Московской области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4439334"/>
                  </a:ext>
                </a:extLst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868" y="2560891"/>
            <a:ext cx="413847" cy="41384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593" y="3986322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971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ятиугольник 11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595224" y="1956654"/>
            <a:ext cx="2760452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ru-RU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1951" y="286983"/>
            <a:ext cx="7486170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Поддержка Экспорта 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336365"/>
              </p:ext>
            </p:extLst>
          </p:nvPr>
        </p:nvGraphicFramePr>
        <p:xfrm>
          <a:off x="531131" y="1906376"/>
          <a:ext cx="11422449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900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583441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Экспортно ориентированные предприниматели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нсультирование по вопросам экспортной деятельности, участие в международных бизнес-миссиях и выставках, маркетинговые исследования иностранного рынка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. 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и на получение поддержки принимаются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о телефону +7 (495) 150-39-41</a:t>
                      </a:r>
                      <a:r>
                        <a:rPr lang="ru-RU" sz="19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или на </a:t>
                      </a: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айте </a:t>
                      </a:r>
                      <a:r>
                        <a:rPr lang="en-US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8"/>
                        </a:rPr>
                        <a:t>https://exportmo.ru/</a:t>
                      </a:r>
                      <a:endParaRPr lang="ru-RU" sz="19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1377" y="2353967"/>
            <a:ext cx="413847" cy="41384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9239" y="3520495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17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789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21127" y="1228602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637156"/>
              </p:ext>
            </p:extLst>
          </p:nvPr>
        </p:nvGraphicFramePr>
        <p:xfrm>
          <a:off x="921127" y="1223627"/>
          <a:ext cx="10681855" cy="6082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4832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35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, </a:t>
                      </a:r>
                      <a:r>
                        <a:rPr lang="ru-RU" sz="15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е</a:t>
                      </a: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 </a:t>
                      </a:r>
                      <a:r>
                        <a:rPr lang="ru-RU" sz="1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</a:rPr>
                        <a:t>приоритетных отраслях экономики</a:t>
                      </a:r>
                      <a:endParaRPr lang="ru-RU" sz="1600" b="1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defTabSz="135000"/>
                      <a:endParaRPr lang="ru-RU" sz="15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3036897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выше 8,5%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0,5 млн руб. до 500 млн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3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пополнение оборотных средств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0,5 млн руб. до 2 млрд.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0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инвестиционные цели 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9,95%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0 млн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развитие предпринимательской деятельности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еспечение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лог приобретаемой техники/оборудования, поручительство собственников, 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ное имущество заемщика, гарантийные инструменты поддержки 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20779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уполномоченных банков:</a:t>
                      </a:r>
                      <a:b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://economy.gov.ru/minec/press/news/2019022501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475" y="6197291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800215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ограмма льготного кредитования </a:t>
            </a:r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РФ от 30.12.2018г. №1764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89229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006161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474024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062542"/>
              </p:ext>
            </p:extLst>
          </p:nvPr>
        </p:nvGraphicFramePr>
        <p:xfrm>
          <a:off x="890521" y="1474025"/>
          <a:ext cx="10681855" cy="53047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4832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35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3036897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ть дочерних лизинговых компаний АО «Корпорация «МСП»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Татарстан» (г. Казань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Башкортостан»(г. Уфа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Ярославской области» (г. Ярославль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Саха (Якутия)» (г. Якутск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%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 российское оборудование 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8%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- иностранное оборудование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</a:t>
                      </a:r>
                      <a:r>
                        <a:rPr lang="ru-RU" sz="1600" kern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беззалоговое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финансирование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нет ограничения в выборе оборудования и поставщика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вободный график платежей исходя из сезонности бизнеса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первый платеж через 30 дней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поручительство Московского областного Гарантийного фонда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20779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обходимо направить заполненную анкету по адресу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rlk@corpmsp.ru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3339" y="5564956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584771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ограмма льготного лизинг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9911053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0492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A50CF98E-0071-7444-AEAF-2A1FC627D628}"/>
              </a:ext>
            </a:extLst>
          </p:cNvPr>
          <p:cNvSpPr/>
          <p:nvPr/>
        </p:nvSpPr>
        <p:spPr>
          <a:xfrm>
            <a:off x="1189100" y="1973728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430921" y="311260"/>
            <a:ext cx="10869683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НА ПОКУПКУ ОБОРУДОВАНИЯ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  <a:endParaRPr lang="ru-RU" sz="14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484866"/>
              </p:ext>
            </p:extLst>
          </p:nvPr>
        </p:nvGraphicFramePr>
        <p:xfrm>
          <a:off x="1189100" y="1905264"/>
          <a:ext cx="10270851" cy="44259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84468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53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 руб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возмещаются затраты на приобретение оборудования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ранее находившегося в эксплуатаци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дата изготовления (выпуска) которого свыше 5 лет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транспортные средства (за исключением спецтехники)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шение при наличии договора - ПОДТВЕРЖДЕНИЕ ОПЛАТЫ НЕ ТРЕБУЕТСЯ!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оставление – после подтверждения оплаты.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D4F5EE6-6142-BD4C-BB3B-E401973E0A80}"/>
              </a:ext>
            </a:extLst>
          </p:cNvPr>
          <p:cNvSpPr/>
          <p:nvPr/>
        </p:nvSpPr>
        <p:spPr>
          <a:xfrm>
            <a:off x="569053" y="197372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en-US" sz="2400" b="1" dirty="0">
                <a:solidFill>
                  <a:srgbClr val="FFFFFF"/>
                </a:solidFill>
              </a:rPr>
              <a:t>1</a:t>
            </a:r>
            <a:endParaRPr lang="ru-RU" sz="2400" b="1" dirty="0">
              <a:solidFill>
                <a:srgbClr val="FFFFFF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337" y="2493034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4091" y="4318751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3D44B8F2-FEA6-487F-BCF8-BAA1EF191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2618691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18582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A50CF98E-0071-7444-AEAF-2A1FC627D628}"/>
              </a:ext>
            </a:extLst>
          </p:cNvPr>
          <p:cNvSpPr/>
          <p:nvPr/>
        </p:nvSpPr>
        <p:spPr>
          <a:xfrm>
            <a:off x="1189100" y="1973728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430921" y="311260"/>
            <a:ext cx="10869683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НА ПЕРВЫЙ ВЗНОС ПРИ ЛИЗИНГЕ ОБОРУДОВАНИЯ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689172"/>
              </p:ext>
            </p:extLst>
          </p:nvPr>
        </p:nvGraphicFramePr>
        <p:xfrm>
          <a:off x="1189100" y="1905264"/>
          <a:ext cx="10270851" cy="4669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84468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53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70% затрат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первого взноса на лизинг оборудования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5 млн руб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возмещаются затраты на приобретение оборудования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ранее находившегося в эксплуатаци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дата изготовления (выпуска) которого свыше 5 лет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транспортные средства (за исключением спецтехники)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шение при наличии договора - ПОДТВЕРЖДЕНИЕ ОПЛАТЫ НЕ ТРЕБУЕТСЯ!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оставление – после подтверждения оплаты.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D4F5EE6-6142-BD4C-BB3B-E401973E0A80}"/>
              </a:ext>
            </a:extLst>
          </p:cNvPr>
          <p:cNvSpPr/>
          <p:nvPr/>
        </p:nvSpPr>
        <p:spPr>
          <a:xfrm>
            <a:off x="569053" y="197372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337" y="2493034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4091" y="4318751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3D44B8F2-FEA6-487F-BCF8-BAA1EF191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5696092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82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F5E654AE-CA4A-274A-8B8B-F7DE8AC6FCFC}"/>
              </a:ext>
            </a:extLst>
          </p:cNvPr>
          <p:cNvSpPr/>
          <p:nvPr/>
        </p:nvSpPr>
        <p:spPr>
          <a:xfrm>
            <a:off x="1264817" y="1986223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260954" y="332340"/>
            <a:ext cx="8978601" cy="1600434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pPr lvl="0"/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sym typeface="Arial"/>
              </a:rPr>
              <a:t>КОМПЕНСАЦИЯ ЗАТРАТ  СОЦИАЛЬНЫМ ПРЕДПРИНИМАТЕЛЯМ</a:t>
            </a:r>
          </a:p>
          <a:p>
            <a:pPr lvl="0" defTabSz="914400">
              <a:spcBef>
                <a:spcPts val="0"/>
              </a:spcBef>
            </a:pPr>
            <a:r>
              <a:rPr lang="ru-RU" sz="1400" dirty="0">
                <a:latin typeface="Century Gothic" panose="020B0502020202020204" pitchFamily="34" charset="0"/>
                <a:sym typeface="Arial"/>
              </a:rPr>
              <a:t>Постановление Правительства МО от 25.10.2016 N 788/39</a:t>
            </a:r>
          </a:p>
          <a:p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008753"/>
              </p:ext>
            </p:extLst>
          </p:nvPr>
        </p:nvGraphicFramePr>
        <p:xfrm>
          <a:off x="1264817" y="1925831"/>
          <a:ext cx="9963348" cy="433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47696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07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социальные предприниматели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23701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5% затрат,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2 млн руб.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ясли для детей до 3 лет -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 млн руб. </a:t>
                      </a: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  <a:sym typeface="Arial"/>
                        </a:rPr>
                        <a:t>Затраты на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аренду и выкуп помещения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оплату коммунальных услуг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текущий и капитальный ремон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приобретение основных средств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участие в </a:t>
                      </a:r>
                      <a:r>
                        <a:rPr lang="ru-RU" sz="1600" kern="1200" noProof="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выставочно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ярмарочных мероприятиях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повышение квалификации сотрудников (ясельные группы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расходы по договорам на медицинское обслуживание детей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приятие должно включиться в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еестр социальных предприятий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78958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E0F5A2D4-1479-6543-8584-CD2756AC15E8}"/>
              </a:ext>
            </a:extLst>
          </p:cNvPr>
          <p:cNvSpPr/>
          <p:nvPr/>
        </p:nvSpPr>
        <p:spPr>
          <a:xfrm>
            <a:off x="598958" y="1986223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3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958" y="2547089"/>
            <a:ext cx="413847" cy="41384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4684" y="5540468"/>
            <a:ext cx="318121" cy="318121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F0CA6BD8-B2B8-4DD6-9D7E-2DD92C2B5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1867288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3962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ятиугольник 16">
            <a:extLst>
              <a:ext uri="{FF2B5EF4-FFF2-40B4-BE49-F238E27FC236}">
                <a16:creationId xmlns="" xmlns:a16="http://schemas.microsoft.com/office/drawing/2014/main" id="{E2E965E8-0C21-034E-A176-AECFF8912354}"/>
              </a:ext>
            </a:extLst>
          </p:cNvPr>
          <p:cNvSpPr/>
          <p:nvPr/>
        </p:nvSpPr>
        <p:spPr>
          <a:xfrm>
            <a:off x="1046974" y="2276586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884280" y="332341"/>
            <a:ext cx="10373191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ПРЕДПРИНИМАТЕЛЯМ В СФЕРЕ ФИЗКУЛЬТУРЫ И СПОРТА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891818"/>
              </p:ext>
            </p:extLst>
          </p:nvPr>
        </p:nvGraphicFramePr>
        <p:xfrm>
          <a:off x="1046974" y="2287250"/>
          <a:ext cx="10055798" cy="32384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34447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621351">
                  <a:extLst>
                    <a:ext uri="{9D8B030D-6E8A-4147-A177-3AD203B41FA5}">
                      <a16:colId xmlns="" xmlns:a16="http://schemas.microsoft.com/office/drawing/2014/main" val="915160862"/>
                    </a:ext>
                  </a:extLst>
                </a:gridCol>
              </a:tblGrid>
              <a:tr h="60483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сфере спорта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12669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одключение инженерных сетей, ремонт,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 и проценты по кредитам на строительство спортивных сооружений, 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 руб.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  <a:p>
                      <a:r>
                        <a:rPr lang="ru-RU" sz="16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cs typeface="Arial" pitchFamily="34" charset="0"/>
                        </a:rPr>
                        <a:t>Требования:</a:t>
                      </a:r>
                      <a:endParaRPr lang="en-US" sz="16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  <a:p>
                      <a:pPr marL="285743" indent="-285743">
                        <a:buFontTx/>
                        <a:buChar char="-"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траты не ранее 3 лет до даты конкурсного отбора.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0478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56563452-4E43-7444-86F5-CCBF2A0B50A0}"/>
              </a:ext>
            </a:extLst>
          </p:cNvPr>
          <p:cNvSpPr/>
          <p:nvPr/>
        </p:nvSpPr>
        <p:spPr>
          <a:xfrm>
            <a:off x="461569" y="225275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4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584FF08-EB9E-7B41-B8D3-BFB855DB53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928" y="2936187"/>
            <a:ext cx="413847" cy="41384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1FF4679E-C397-3149-B00D-5720135A75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7295" y="4847795"/>
            <a:ext cx="318121" cy="318121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F0CA6BD8-B2B8-4DD6-9D7E-2DD92C2B5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621352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BA1D315D-DF8B-8F4A-8638-A34141508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10239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1070892" y="175630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611068"/>
              </p:ext>
            </p:extLst>
          </p:nvPr>
        </p:nvGraphicFramePr>
        <p:xfrm>
          <a:off x="1070892" y="1635990"/>
          <a:ext cx="9771543" cy="51500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0292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36861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323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50368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азмер поручительства:  </a:t>
                      </a:r>
                    </a:p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1. </a:t>
                      </a:r>
                      <a:r>
                        <a:rPr lang="ru-RU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о кредитным договорам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50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от суммы кредита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на срок до 10 лет (торговля 18 мес.)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42 млн руб.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вознаграждение от</a:t>
                      </a:r>
                      <a:r>
                        <a:rPr lang="ru-RU" sz="1600" kern="1200" baseline="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0,75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годовых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noProof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2. </a:t>
                      </a:r>
                      <a:r>
                        <a:rPr lang="ru-RU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о банковским гарантиям (44 и 223-ФЗ)</a:t>
                      </a:r>
                      <a:r>
                        <a:rPr lang="en-US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:</a:t>
                      </a:r>
                      <a:endParaRPr lang="ru-RU" sz="1600" u="sng" kern="1200" noProof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50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от суммы гарантии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на срок до 3 лет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30 млн руб.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вознаграждение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1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годовых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34112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Банк-партнер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6"/>
                        </a:rPr>
                        <a:t>http://www.mosreg-garant.ru/ru/entrepreneurs/partner/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242205" y="435665"/>
            <a:ext cx="9411418" cy="1200325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оручительства Гарантийного фонда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по  кредитным договорам/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договорам банковской гарантии/договорам зай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316E5A6E-C1DC-714D-90A8-B705CBE0CD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673" y="2313444"/>
            <a:ext cx="464216" cy="46421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7A281734-2DB0-4043-9AE4-C0F365D905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6673" y="5598150"/>
            <a:ext cx="414548" cy="414548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6BDB2E41-32D0-405B-B269-AB3360FD53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6084280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12AE035B-BDFD-6B4A-8F34-B874D13958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5214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ятиугольник 14">
            <a:extLst>
              <a:ext uri="{FF2B5EF4-FFF2-40B4-BE49-F238E27FC236}">
                <a16:creationId xmlns="" xmlns:a16="http://schemas.microsoft.com/office/drawing/2014/main" id="{B0256A7A-2BC6-254B-8D09-56EDA9CC27CB}"/>
              </a:ext>
            </a:extLst>
          </p:cNvPr>
          <p:cNvSpPr/>
          <p:nvPr/>
        </p:nvSpPr>
        <p:spPr>
          <a:xfrm>
            <a:off x="1392308" y="147284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804416" y="332341"/>
            <a:ext cx="6559296" cy="584771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Льготные </a:t>
            </a:r>
            <a:r>
              <a:rPr lang="ru-RU" sz="3200" dirty="0" err="1">
                <a:solidFill>
                  <a:srgbClr val="7030A0"/>
                </a:solidFill>
                <a:ea typeface="+mn-ea"/>
              </a:rPr>
              <a:t>микрозаймы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9105037"/>
              </p:ext>
            </p:extLst>
          </p:nvPr>
        </p:nvGraphicFramePr>
        <p:xfrm>
          <a:off x="1095556" y="1472845"/>
          <a:ext cx="10506972" cy="37760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6944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20028">
                  <a:extLst>
                    <a:ext uri="{9D8B030D-6E8A-4147-A177-3AD203B41FA5}">
                      <a16:colId xmlns="" xmlns:a16="http://schemas.microsoft.com/office/drawing/2014/main" val="915160862"/>
                    </a:ext>
                  </a:extLst>
                </a:gridCol>
              </a:tblGrid>
              <a:tr h="68741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145691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ймы до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о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-х лет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 ставке от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,25%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годовых </a:t>
                      </a: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Специальные программы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«Начни свое</a:t>
                      </a:r>
                      <a:r>
                        <a:rPr lang="ru-RU" sz="16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ело»                    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500 тыс. руб.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ставке от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,35%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довых</a:t>
                      </a:r>
                    </a:p>
                    <a:p>
                      <a:pPr marL="0" marR="0" lvl="0" indent="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   «На исполнение </a:t>
                      </a:r>
                      <a:r>
                        <a:rPr lang="ru-RU" sz="1600" kern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сконтракта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» д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о ставке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,25%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Антикризисный»                       до 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млн руб.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о ставке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,25%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</a:t>
                      </a:r>
                    </a:p>
                    <a:p>
                      <a:pPr marL="0" marR="0" lvl="0" indent="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                             срок д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-х лет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59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7"/>
                        </a:rPr>
                        <a:t>https://www.mofmicro.ru/contacts/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CCDEE197-CEA6-6544-A0AA-3C45389F2F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1964" y="2177274"/>
            <a:ext cx="413847" cy="41384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6A36CA4F-B1F4-0D44-85FD-33122B9819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689" y="4109567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8F74B4E0-6C5B-4F3D-A11F-601475CBE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88016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4A79CE43-28E6-ED4C-846B-A90FDB513E3C}"/>
              </a:ext>
            </a:extLst>
          </p:cNvPr>
          <p:cNvSpPr/>
          <p:nvPr/>
        </p:nvSpPr>
        <p:spPr>
          <a:xfrm>
            <a:off x="912284" y="1560339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076623"/>
              </p:ext>
            </p:extLst>
          </p:nvPr>
        </p:nvGraphicFramePr>
        <p:xfrm>
          <a:off x="912285" y="1532673"/>
          <a:ext cx="10923155" cy="44319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4755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91134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едние и крупные предприятия, реализующие новые промышленные проекты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94754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-150 млн руб. под 1-5% годовых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риобретение оборудования или лизинговые проекты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сроком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57301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ку на сайте ФРП МО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5"/>
                        </a:rPr>
                        <a:t>https://frpmo.ru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 в разделе «Подача заявки»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136-99-09, info@frpmo.ru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E429124B-F99C-1E40-8C01-664D07400A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985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A3C94A0-F9E9-3647-ACE7-935CC05E1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C952EC4-E77F-CD42-BA53-EF97DB2AF9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270" y="2488205"/>
            <a:ext cx="413847" cy="41384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DC86691A-8C1E-874C-99B7-54CC63BFFE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4172" y="4522416"/>
            <a:ext cx="318121" cy="318121"/>
          </a:xfrm>
          <a:prstGeom prst="rect">
            <a:avLst/>
          </a:prstGeom>
        </p:spPr>
      </p:pic>
      <p:sp>
        <p:nvSpPr>
          <p:cNvPr id="14" name="Заголовок 13">
            <a:extLst>
              <a:ext uri="{FF2B5EF4-FFF2-40B4-BE49-F238E27FC236}">
                <a16:creationId xmlns="" xmlns:a16="http://schemas.microsoft.com/office/drawing/2014/main" id="{7F6E283C-8952-D84E-80A7-28116E4C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4" y="287900"/>
            <a:ext cx="9649848" cy="584771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Займы промышленным предприятиям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FA0F769D-DC95-48CD-83C0-56A46AFC5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0834003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68894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840216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9437123"/>
              </p:ext>
            </p:extLst>
          </p:nvPr>
        </p:nvGraphicFramePr>
        <p:xfrm>
          <a:off x="938383" y="1840221"/>
          <a:ext cx="10681855" cy="43600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10640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вые предприятия + предприятия, расширившие свои производственные мощности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023876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Единоразовое возмещение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10% от стоимости всего проекта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227216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субсидии необходимо подать заявку в </a:t>
                      </a:r>
                      <a:r>
                        <a:rPr lang="ru-RU" sz="16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нвест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сковской области после официального извещения о начале конкурс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668-00-99, </a:t>
                      </a:r>
                      <a:r>
                        <a:rPr lang="en-US" sz="1600" b="1" kern="1200" dirty="0">
                          <a:solidFill>
                            <a:srgbClr val="D3525D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7"/>
                        </a:rPr>
                        <a:t>Yurinayum@mosreg.ru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  <a:b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605" y="2983586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400" y="4093693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1569656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Возмещение затрат на создание объектов инженерной инфраструктуры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8660183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wkO3KONOid9paMYAX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5</TotalTime>
  <Words>1573</Words>
  <Application>Microsoft Office PowerPoint</Application>
  <PresentationFormat>Произвольный</PresentationFormat>
  <Paragraphs>290</Paragraphs>
  <Slides>18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1" baseType="lpstr">
      <vt:lpstr>1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ймы промышленным предприятиям</vt:lpstr>
      <vt:lpstr>Возмещение затрат на создание объектов инженерной инфраструктуры</vt:lpstr>
      <vt:lpstr>Презентация PowerPoint</vt:lpstr>
      <vt:lpstr>Презентация PowerPoint</vt:lpstr>
      <vt:lpstr>Презентация PowerPoint</vt:lpstr>
      <vt:lpstr>Инжиниринговые услуги для промышленных предприятий</vt:lpstr>
      <vt:lpstr>Презентация PowerPoint</vt:lpstr>
      <vt:lpstr>ПРЕДОСТАВЛЕНИЕ Земельных участков БЕЗ ТОРГОВ</vt:lpstr>
      <vt:lpstr>Презентация PowerPoint</vt:lpstr>
      <vt:lpstr>Программа льготного кредитования Постановление Правительства РФ от 30.12.2018г. №1764</vt:lpstr>
      <vt:lpstr>Программа льготного лизинг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ованова Александра Николаевна</dc:creator>
  <cp:lastModifiedBy>User</cp:lastModifiedBy>
  <cp:revision>186</cp:revision>
  <cp:lastPrinted>2020-05-29T08:37:55Z</cp:lastPrinted>
  <dcterms:modified xsi:type="dcterms:W3CDTF">2020-09-18T06:55:07Z</dcterms:modified>
</cp:coreProperties>
</file>